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0"/>
  </p:notesMasterIdLst>
  <p:handoutMasterIdLst>
    <p:handoutMasterId r:id="rId11"/>
  </p:handoutMasterIdLst>
  <p:sldIdLst>
    <p:sldId id="747" r:id="rId6"/>
    <p:sldId id="693" r:id="rId7"/>
    <p:sldId id="746" r:id="rId8"/>
    <p:sldId id="69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47"/>
            <p14:sldId id="693"/>
            <p14:sldId id="746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833"/>
    <a:srgbClr val="039CD1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77" d="100"/>
          <a:sy n="77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537001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118C8C-9370-45E3-8A64-E21BDE47492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73056"/>
            <a:ext cx="5991225" cy="600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A logo with text on it&#10;&#10;Description automatically generated">
            <a:extLst>
              <a:ext uri="{FF2B5EF4-FFF2-40B4-BE49-F238E27FC236}">
                <a16:creationId xmlns:a16="http://schemas.microsoft.com/office/drawing/2014/main" id="{DA5190D6-8A8D-455C-8A30-34F03DA5CC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040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 descr="A poster for a college&#10;&#10;Description automatically generated">
            <a:extLst>
              <a:ext uri="{FF2B5EF4-FFF2-40B4-BE49-F238E27FC236}">
                <a16:creationId xmlns:a16="http://schemas.microsoft.com/office/drawing/2014/main" id="{5DDB0E27-3F9C-480B-BB07-040B735973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791"/>
            <a:ext cx="5994015" cy="599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020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390529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585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Machine Learn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2146224"/>
            <a:ext cx="5816707" cy="1282776"/>
          </a:xfrm>
        </p:spPr>
        <p:txBody>
          <a:bodyPr/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Evaluation Metrics for Regression Models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Evaluation Metrics for Regression Mod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1061885"/>
            <a:ext cx="11739716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Unlike classification that has the label in a categorical variable, output variable in regression learning model is continuous and therefore, we will have different evaluation metrics to assess the performance of such model.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main metrics for model evaluation in regression models includes: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Mean Square Error (MSE)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Root Mean Square Error (RMSE)</a:t>
            </a:r>
          </a:p>
          <a:p>
            <a:pPr marL="45720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Mean Absolute Error (MAE)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9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lower the error, the better the model. All these metrics can range from 0 to ∞</a:t>
            </a:r>
          </a:p>
        </p:txBody>
      </p:sp>
    </p:spTree>
    <p:extLst>
      <p:ext uri="{BB962C8B-B14F-4D97-AF65-F5344CB8AC3E}">
        <p14:creationId xmlns:p14="http://schemas.microsoft.com/office/powerpoint/2010/main" val="341217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4</TotalTime>
  <Words>99</Words>
  <Application>Microsoft Office PowerPoint</Application>
  <PresentationFormat>Widescreen</PresentationFormat>
  <Paragraphs>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Gotham Light</vt:lpstr>
      <vt:lpstr>Wingdings</vt:lpstr>
      <vt:lpstr>2_Office Theme</vt:lpstr>
      <vt:lpstr>1_Office Theme</vt:lpstr>
      <vt:lpstr>think-cell Slide</vt:lpstr>
      <vt:lpstr>Introduction to Machine Learning</vt:lpstr>
      <vt:lpstr>Evaluation Metrics for Regression Model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63</cp:revision>
  <dcterms:created xsi:type="dcterms:W3CDTF">2020-03-16T19:15:12Z</dcterms:created>
  <dcterms:modified xsi:type="dcterms:W3CDTF">2024-05-03T13:4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